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6"/>
  </p:notesMasterIdLst>
  <p:handoutMasterIdLst>
    <p:handoutMasterId r:id="rId27"/>
  </p:handoutMasterIdLst>
  <p:sldIdLst>
    <p:sldId id="295" r:id="rId2"/>
    <p:sldId id="378" r:id="rId3"/>
    <p:sldId id="379" r:id="rId4"/>
    <p:sldId id="380" r:id="rId5"/>
    <p:sldId id="312" r:id="rId6"/>
    <p:sldId id="313" r:id="rId7"/>
    <p:sldId id="314" r:id="rId8"/>
    <p:sldId id="315" r:id="rId9"/>
    <p:sldId id="317" r:id="rId10"/>
    <p:sldId id="318" r:id="rId11"/>
    <p:sldId id="319" r:id="rId12"/>
    <p:sldId id="320" r:id="rId13"/>
    <p:sldId id="321" r:id="rId14"/>
    <p:sldId id="322" r:id="rId15"/>
    <p:sldId id="323" r:id="rId16"/>
    <p:sldId id="324" r:id="rId17"/>
    <p:sldId id="325" r:id="rId18"/>
    <p:sldId id="326" r:id="rId19"/>
    <p:sldId id="327" r:id="rId20"/>
    <p:sldId id="332" r:id="rId21"/>
    <p:sldId id="335" r:id="rId22"/>
    <p:sldId id="337" r:id="rId23"/>
    <p:sldId id="377" r:id="rId24"/>
    <p:sldId id="368" r:id="rId25"/>
  </p:sldIdLst>
  <p:sldSz cx="9904413" cy="6859588"/>
  <p:notesSz cx="6797675" cy="9874250"/>
  <p:custDataLst>
    <p:tags r:id="rId28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37" autoAdjust="0"/>
    <p:restoredTop sz="98993" autoAdjust="0"/>
  </p:normalViewPr>
  <p:slideViewPr>
    <p:cSldViewPr snapToObjects="1" showGuides="1">
      <p:cViewPr>
        <p:scale>
          <a:sx n="119" d="100"/>
          <a:sy n="119" d="100"/>
        </p:scale>
        <p:origin x="1192" y="440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4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8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2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6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30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4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50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50849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11778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511777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72706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6572705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Four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450849" y="1376361"/>
            <a:ext cx="2196001" cy="4932364"/>
            <a:chOff x="450849" y="1376361"/>
            <a:chExt cx="2196001" cy="4932364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719224" y="1376361"/>
            <a:ext cx="2196001" cy="4932364"/>
            <a:chOff x="450849" y="1376361"/>
            <a:chExt cx="2196001" cy="4932364"/>
          </a:xfrm>
        </p:grpSpPr>
        <p:sp>
          <p:nvSpPr>
            <p:cNvPr id="12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3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4987599" y="1376361"/>
            <a:ext cx="2196001" cy="4932364"/>
            <a:chOff x="450849" y="1376361"/>
            <a:chExt cx="2196001" cy="4932364"/>
          </a:xfrm>
        </p:grpSpPr>
        <p:sp>
          <p:nvSpPr>
            <p:cNvPr id="15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6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7255974" y="1376361"/>
            <a:ext cx="2196001" cy="4932364"/>
            <a:chOff x="450849" y="1376361"/>
            <a:chExt cx="2196001" cy="4932364"/>
          </a:xfrm>
        </p:grpSpPr>
        <p:sp>
          <p:nvSpPr>
            <p:cNvPr id="1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9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49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450848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95875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095874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0849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450848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95875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5095874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450848" y="1376361"/>
            <a:ext cx="2880001" cy="2341465"/>
            <a:chOff x="450848" y="1376361"/>
            <a:chExt cx="2880001" cy="2341465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505196" y="1376361"/>
            <a:ext cx="2880001" cy="2341465"/>
            <a:chOff x="450848" y="1376361"/>
            <a:chExt cx="2880001" cy="2341465"/>
          </a:xfrm>
        </p:grpSpPr>
        <p:sp>
          <p:nvSpPr>
            <p:cNvPr id="10" name="Text Box 1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1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559544" y="1376361"/>
            <a:ext cx="2880001" cy="2341465"/>
            <a:chOff x="450848" y="1376361"/>
            <a:chExt cx="2880001" cy="2341465"/>
          </a:xfrm>
        </p:grpSpPr>
        <p:sp>
          <p:nvSpPr>
            <p:cNvPr id="13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4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50848" y="3968848"/>
            <a:ext cx="2880001" cy="2341465"/>
            <a:chOff x="450848" y="1376361"/>
            <a:chExt cx="2880001" cy="2341465"/>
          </a:xfrm>
        </p:grpSpPr>
        <p:sp>
          <p:nvSpPr>
            <p:cNvPr id="1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505196" y="3968848"/>
            <a:ext cx="2880001" cy="2341465"/>
            <a:chOff x="450848" y="1376361"/>
            <a:chExt cx="2880001" cy="2341465"/>
          </a:xfrm>
        </p:grpSpPr>
        <p:sp>
          <p:nvSpPr>
            <p:cNvPr id="19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0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559544" y="3968848"/>
            <a:ext cx="2880001" cy="2341465"/>
            <a:chOff x="450848" y="1376361"/>
            <a:chExt cx="2880001" cy="2341465"/>
          </a:xfrm>
        </p:grpSpPr>
        <p:sp>
          <p:nvSpPr>
            <p:cNvPr id="22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3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5" y="3236608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3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5" y="4274141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3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5" y="5311673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3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5" y="2199075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3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3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5" y="1161542"/>
            <a:ext cx="898583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6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6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6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6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6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82291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6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82291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8</a:t>
            </a: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82291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9</a:t>
            </a:r>
          </a:p>
        </p:txBody>
      </p:sp>
      <p:sp>
        <p:nvSpPr>
          <p:cNvPr id="21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82291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10</a:t>
            </a:r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082291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ways of showing major points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6875" y="1376363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4175" y="2567332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4175" y="3758301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4175" y="4949270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100262" y="2561462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100262" y="3758301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00262" y="4949270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401341" y="1375569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Text Placeholder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01341" y="2561462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3" name="Text Placeholder 2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01341" y="3758301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401341" y="4949270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2100262" y="1375569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major points with chevron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396875" y="1376363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 bwMode="auto">
          <a:xfrm>
            <a:off x="2100263" y="1375569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2100263" y="2561462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2100263" y="3758301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2100263" y="4949270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5401340" y="1375569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5401340" y="2561462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5401340" y="3758301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5401340" y="4949270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gray">
          <a:xfrm>
            <a:off x="396875" y="2584531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396875" y="3792699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396875" y="5000867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chevrons with text boxes</a:t>
            </a:r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2113" y="1377950"/>
            <a:ext cx="2206625" cy="584200"/>
          </a:xfrm>
          <a:prstGeom prst="chevron">
            <a:avLst>
              <a:gd name="adj" fmla="val 34952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, Palatino Linotype14-pt bold</a:t>
            </a: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6338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94213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40500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21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2446338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4942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540500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oxes – vertical chevrons with text</a:t>
            </a:r>
            <a:endParaRPr lang="en-US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2330450" y="16097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 rot="5400000">
            <a:off x="2330450" y="24860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 rot="5400000">
            <a:off x="2330450" y="33623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 rot="5400000">
            <a:off x="2330450" y="42386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70089" y="20034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970089" y="28797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970089" y="3756024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3970089" y="46323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</a:t>
            </a:r>
            <a:r>
              <a:rPr lang="en-US" dirty="0"/>
              <a:t>locks – two squares</a:t>
            </a:r>
          </a:p>
        </p:txBody>
      </p:sp>
      <p:sp>
        <p:nvSpPr>
          <p:cNvPr id="3" name="Slide Number Placeholder 11"/>
          <p:cNvSpPr txBox="1">
            <a:spLocks/>
          </p:cNvSpPr>
          <p:nvPr/>
        </p:nvSpPr>
        <p:spPr>
          <a:xfrm>
            <a:off x="415925" y="6554788"/>
            <a:ext cx="346075" cy="14287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63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925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888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851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814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776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739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702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6B2407-E3DE-42EE-BB9A-9ADA55DC3674}" type="slidenum">
              <a:rPr lang="en-US" smtClean="0">
                <a:latin typeface="Palatino Linotype" panose="02040502050505030304" pitchFamily="18" charset="0"/>
              </a:rPr>
              <a:pPr/>
              <a:t>20</a:t>
            </a:fld>
            <a:endParaRPr lang="en-US">
              <a:latin typeface="Palatino Linotype" panose="02040502050505030304" pitchFamily="18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780301" y="2335769"/>
            <a:ext cx="3240000" cy="288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4651375" y="1705769"/>
            <a:ext cx="3600000" cy="41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rapezoid 12"/>
          <p:cNvSpPr/>
          <p:nvPr/>
        </p:nvSpPr>
        <p:spPr>
          <a:xfrm rot="16200000">
            <a:off x="2264911" y="3460769"/>
            <a:ext cx="4140000" cy="630000"/>
          </a:xfrm>
          <a:prstGeom prst="trapezoid">
            <a:avLst>
              <a:gd name="adj" fmla="val 98866"/>
            </a:avLst>
          </a:pr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locks – sources leading to</a:t>
            </a:r>
          </a:p>
        </p:txBody>
      </p:sp>
      <p:sp>
        <p:nvSpPr>
          <p:cNvPr id="3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12836" y="1830536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12836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71153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 flipH="1">
            <a:off x="5559461" y="1829668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180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Oval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6749" y="3011394"/>
            <a:ext cx="1546225" cy="1548000"/>
          </a:xfrm>
          <a:prstGeom prst="ellipse">
            <a:avLst/>
          </a:prstGeom>
          <a:solidFill>
            <a:schemeClr val="bg2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trees – executive summary tree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7291975" y="1824556"/>
            <a:ext cx="2160000" cy="4521562"/>
            <a:chOff x="6930838" y="1824556"/>
            <a:chExt cx="1981200" cy="4521562"/>
          </a:xfrm>
        </p:grpSpPr>
        <p:grpSp>
          <p:nvGrpSpPr>
            <p:cNvPr id="22" name="组合 21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13" name="Text Box 10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18" name="Rectangle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19" name="Group 2"/>
          <p:cNvGrpSpPr/>
          <p:nvPr/>
        </p:nvGrpSpPr>
        <p:grpSpPr>
          <a:xfrm>
            <a:off x="455612" y="1159753"/>
            <a:ext cx="8996363" cy="603248"/>
            <a:chOff x="387350" y="1123947"/>
            <a:chExt cx="8372475" cy="603248"/>
          </a:xfrm>
        </p:grpSpPr>
        <p:sp>
          <p:nvSpPr>
            <p:cNvPr id="20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7350" y="1292059"/>
              <a:ext cx="8372475" cy="435136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>
                <a:spcAft>
                  <a:spcPts val="300"/>
                </a:spcAft>
                <a:defRPr/>
              </a:pPr>
              <a:r>
                <a:rPr lang="en-US" sz="1200" dirty="0">
                  <a:latin typeface="Palatino Linotype" panose="02040502050505030304" pitchFamily="18" charset="0"/>
                </a:rPr>
                <a:t>Main conclusion</a:t>
              </a:r>
              <a:endParaRPr lang="en-US" sz="1200" kern="0" dirty="0">
                <a:latin typeface="Palatino Linotype" panose="02040502050505030304" pitchFamily="18" charset="0"/>
              </a:endParaRPr>
            </a:p>
          </p:txBody>
        </p:sp>
        <p:sp>
          <p:nvSpPr>
            <p:cNvPr id="21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87350" y="1123947"/>
              <a:ext cx="8372475" cy="2160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defTabSz="957263"/>
              <a:r>
                <a:rPr lang="en-US" sz="1200" b="1">
                  <a:solidFill>
                    <a:schemeClr val="bg1"/>
                  </a:solidFill>
                  <a:latin typeface="Palatino Linotype" panose="02040502050505030304" pitchFamily="18" charset="0"/>
                </a:rPr>
                <a:t>Report title</a:t>
              </a:r>
              <a:endParaRPr lang="en-US" sz="1400" b="1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011600" y="1824556"/>
            <a:ext cx="2160000" cy="4521562"/>
            <a:chOff x="6930838" y="1824556"/>
            <a:chExt cx="1981200" cy="4521562"/>
          </a:xfrm>
        </p:grpSpPr>
        <p:grpSp>
          <p:nvGrpSpPr>
            <p:cNvPr id="25" name="组合 2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27" name="Text Box 10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28" name="Rectangle 1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2731225" y="1824556"/>
            <a:ext cx="2160000" cy="4521562"/>
            <a:chOff x="6930838" y="1824556"/>
            <a:chExt cx="1981200" cy="4521562"/>
          </a:xfrm>
        </p:grpSpPr>
        <p:grpSp>
          <p:nvGrpSpPr>
            <p:cNvPr id="30" name="组合 29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2" name="Text Box 10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1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50850" y="1824556"/>
            <a:ext cx="2160000" cy="4521562"/>
            <a:chOff x="6930838" y="1824556"/>
            <a:chExt cx="1981200" cy="4521562"/>
          </a:xfrm>
        </p:grpSpPr>
        <p:grpSp>
          <p:nvGrpSpPr>
            <p:cNvPr id="35" name="组合 3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7" name="Text Box 10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6" name="Rectangle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49"/>
          <p:cNvSpPr/>
          <p:nvPr>
            <p:custDataLst>
              <p:tags r:id="rId1"/>
            </p:custDataLst>
          </p:nvPr>
        </p:nvSpPr>
        <p:spPr>
          <a:xfrm>
            <a:off x="970129" y="3179911"/>
            <a:ext cx="8444703" cy="3382231"/>
          </a:xfrm>
          <a:prstGeom prst="roundRect">
            <a:avLst>
              <a:gd name="adj" fmla="val 322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latino Linotype" panose="02040502050505030304" pitchFamily="18" charset="0"/>
            </a:endParaRPr>
          </a:p>
        </p:txBody>
      </p:sp>
      <p:graphicFrame>
        <p:nvGraphicFramePr>
          <p:cNvPr id="9" name="Table 4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278497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3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3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15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wo</a:t>
            </a:r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7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964216" y="2950411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8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5193145" y="2800889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537315" y="185743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691790" y="167741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3717393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hree</a:t>
            </a:r>
          </a:p>
        </p:txBody>
      </p:sp>
      <p:graphicFrame>
        <p:nvGraphicFramePr>
          <p:cNvPr id="11" name="Table 4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958196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71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>
            <p:custDataLst>
              <p:tags r:id="rId2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13" name="AutoShape 3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21580317">
            <a:off x="3980596" y="2746029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>
                <a:lumMod val="60000"/>
                <a:lumOff val="40000"/>
              </a:schemeClr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4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6891541" y="2536907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6562141" y="1523124"/>
            <a:ext cx="2854561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3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1064271" y="2955152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3704511" y="1677560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896990" y="1929588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alternative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644224"/>
              </p:ext>
            </p:extLst>
          </p:nvPr>
        </p:nvGraphicFramePr>
        <p:xfrm>
          <a:off x="396875" y="1377950"/>
          <a:ext cx="9055098" cy="4152900"/>
        </p:xfrm>
        <a:graphic>
          <a:graphicData uri="http://schemas.openxmlformats.org/drawingml/2006/table">
            <a:tbl>
              <a:tblPr/>
              <a:tblGrid>
                <a:gridCol w="1218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6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0598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text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278109"/>
              </p:ext>
            </p:extLst>
          </p:nvPr>
        </p:nvGraphicFramePr>
        <p:xfrm>
          <a:off x="396876" y="1377949"/>
          <a:ext cx="9055099" cy="493236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9793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8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37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42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full column of bullets and dashes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7220300"/>
              </p:ext>
            </p:extLst>
          </p:nvPr>
        </p:nvGraphicFramePr>
        <p:xfrm>
          <a:off x="396875" y="1377950"/>
          <a:ext cx="9055100" cy="4470400"/>
        </p:xfrm>
        <a:graphic>
          <a:graphicData uri="http://schemas.openxmlformats.org/drawingml/2006/table">
            <a:tbl>
              <a:tblPr/>
              <a:tblGrid>
                <a:gridCol w="2265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53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72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chevron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673773"/>
              </p:ext>
            </p:extLst>
          </p:nvPr>
        </p:nvGraphicFramePr>
        <p:xfrm>
          <a:off x="396873" y="2023231"/>
          <a:ext cx="9055104" cy="4287081"/>
        </p:xfrm>
        <a:graphic>
          <a:graphicData uri="http://schemas.openxmlformats.org/drawingml/2006/table">
            <a:tbl>
              <a:tblPr/>
              <a:tblGrid>
                <a:gridCol w="2263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1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382587" y="1377950"/>
            <a:ext cx="9069388" cy="584200"/>
            <a:chOff x="382587" y="1377950"/>
            <a:chExt cx="8353600" cy="584200"/>
          </a:xfrm>
        </p:grpSpPr>
        <p:sp>
          <p:nvSpPr>
            <p:cNvPr id="4" name="AutoShape 32"/>
            <p:cNvSpPr>
              <a:spLocks noChangeArrowheads="1"/>
            </p:cNvSpPr>
            <p:nvPr/>
          </p:nvSpPr>
          <p:spPr bwMode="gray">
            <a:xfrm>
              <a:off x="382587" y="1377950"/>
              <a:ext cx="2206800" cy="584200"/>
            </a:xfrm>
            <a:prstGeom prst="chevron">
              <a:avLst>
                <a:gd name="adj" fmla="val 34952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, Palatino Linotype, 14-pt bold</a:t>
              </a:r>
            </a:p>
          </p:txBody>
        </p:sp>
        <p:sp>
          <p:nvSpPr>
            <p:cNvPr id="5" name="AutoShape 33"/>
            <p:cNvSpPr>
              <a:spLocks noChangeArrowheads="1"/>
            </p:cNvSpPr>
            <p:nvPr/>
          </p:nvSpPr>
          <p:spPr bwMode="gray">
            <a:xfrm>
              <a:off x="2431520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6" name="AutoShape 34"/>
            <p:cNvSpPr>
              <a:spLocks noChangeArrowheads="1"/>
            </p:cNvSpPr>
            <p:nvPr/>
          </p:nvSpPr>
          <p:spPr bwMode="gray">
            <a:xfrm>
              <a:off x="4480453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7" name="AutoShape 35"/>
            <p:cNvSpPr>
              <a:spLocks noChangeArrowheads="1"/>
            </p:cNvSpPr>
            <p:nvPr/>
          </p:nvSpPr>
          <p:spPr bwMode="gray">
            <a:xfrm>
              <a:off x="6529387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</p:grpSp>
      <p:sp>
        <p:nvSpPr>
          <p:cNvPr id="8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text boxes with paragraph, bullet, and dash points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8561" y="1376361"/>
            <a:ext cx="4358389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48560" y="1626041"/>
            <a:ext cx="4358389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95877" y="1376361"/>
            <a:ext cx="43561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5095876" y="1626041"/>
            <a:ext cx="43561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e_StvbU.2ilUxqenA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cPrvkp_UCfZYpSZBzBJ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Z3SNMPPUSNJA6Vwr0Y9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Nf7TywYECbF3xX2Dj51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USL.Teekq.TV4MG7by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Nq6wuekGDUwGSKZAF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RZ1ne.UCkFBJ_aCWG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t5Ggp5jUyoj6gjF7SQ4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oevLBHLkGZYGPTuSRN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poEi9l3kWlW_S6SCF.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YT0hR6.0SvUx6BnT90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J97binx0i5J8UPOr93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.TakVrDUWbKSwDbZGpK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Q4iBO9pEmQU7xMrr1l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NFgm0yKEuM.gZWhN5E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LseO1dUSWP8cEAzlL2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jsJ7jS4E.l9wBVV1gy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_6dwvEyE.1sfTYE6fu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zEFF13M0WKgd4O5C57_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91</Words>
  <Application>Microsoft Macintosh PowerPoint</Application>
  <PresentationFormat>Custom</PresentationFormat>
  <Paragraphs>661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-apple-system</vt:lpstr>
      <vt:lpstr>等线</vt:lpstr>
      <vt:lpstr>华文楷体</vt:lpstr>
      <vt:lpstr>Arial</vt:lpstr>
      <vt:lpstr>Calibri</vt:lpstr>
      <vt:lpstr>Palatino Linotype</vt:lpstr>
      <vt:lpstr>Times New Roman</vt:lpstr>
      <vt:lpstr>Vrinda</vt:lpstr>
      <vt:lpstr>Wingdings 2</vt:lpstr>
      <vt:lpstr>CR Onlytext</vt:lpstr>
      <vt:lpstr>think-cell Slide</vt:lpstr>
      <vt:lpstr>Data Analysis Project 1.</vt:lpstr>
      <vt:lpstr>Data Analysis Framework</vt:lpstr>
      <vt:lpstr>3.1 Select &amp; Normalize</vt:lpstr>
      <vt:lpstr>3.2 In-Sample &amp; Out-Sample Modeling</vt:lpstr>
      <vt:lpstr>Tables – alternative data table</vt:lpstr>
      <vt:lpstr>Tables – table with text</vt:lpstr>
      <vt:lpstr>Tables – table with full column of bullets and dashes</vt:lpstr>
      <vt:lpstr>Tables – chevron table</vt:lpstr>
      <vt:lpstr>Text boxes – two text boxes with paragraph, bullet, and dash points</vt:lpstr>
      <vt:lpstr>Text boxes – three to a slide, with paragraph, bullet, and dash points</vt:lpstr>
      <vt:lpstr>Text boxes – Four to a slide, with paragraph, bullet, and dash points</vt:lpstr>
      <vt:lpstr>Text boxes – two-by-two</vt:lpstr>
      <vt:lpstr>Text boxes – three-by-two</vt:lpstr>
      <vt:lpstr>Text boxes – two columns of numbered points for each point</vt:lpstr>
      <vt:lpstr>Text boxes – two columns of numbered points for each point</vt:lpstr>
      <vt:lpstr>Text boxes – two ways of showing major points</vt:lpstr>
      <vt:lpstr>Text boxes – major points with chevrons</vt:lpstr>
      <vt:lpstr>Text boxes – chevrons with text boxes</vt:lpstr>
      <vt:lpstr>Text boxes – vertical chevrons with text</vt:lpstr>
      <vt:lpstr>Text blocks – two squares</vt:lpstr>
      <vt:lpstr>Text blocks – sources leading to</vt:lpstr>
      <vt:lpstr>Logic trees – executive summary tree</vt:lpstr>
      <vt:lpstr>Steps – two</vt:lpstr>
      <vt:lpstr>Steps – th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06:03:53Z</dcterms:modified>
  <cp:version>112013</cp:version>
</cp:coreProperties>
</file>